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4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5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Override16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84" r:id="rId2"/>
  </p:sldIdLst>
  <p:sldSz cx="9144000" cy="5715000" type="screen16x10"/>
  <p:notesSz cx="6797675" cy="987425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4">
          <p15:clr>
            <a:srgbClr val="A4A3A4"/>
          </p15:clr>
        </p15:guide>
        <p15:guide id="2" orient="horz" pos="3252">
          <p15:clr>
            <a:srgbClr val="A4A3A4"/>
          </p15:clr>
        </p15:guide>
        <p15:guide id="3" orient="horz" pos="76">
          <p15:clr>
            <a:srgbClr val="A4A3A4"/>
          </p15:clr>
        </p15:guide>
        <p15:guide id="4" pos="158">
          <p15:clr>
            <a:srgbClr val="A4A3A4"/>
          </p15:clr>
        </p15:guide>
        <p15:guide id="5" pos="3787">
          <p15:clr>
            <a:srgbClr val="A4A3A4"/>
          </p15:clr>
        </p15:guide>
        <p15:guide id="6" pos="4740">
          <p15:clr>
            <a:srgbClr val="A4A3A4"/>
          </p15:clr>
        </p15:guide>
        <p15:guide id="7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10">
          <p15:clr>
            <a:srgbClr val="A4A3A4"/>
          </p15:clr>
        </p15:guide>
        <p15:guide id="4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F1975"/>
    <a:srgbClr val="9D0030"/>
    <a:srgbClr val="C3B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>
      <p:cViewPr varScale="1">
        <p:scale>
          <a:sx n="194" d="100"/>
          <a:sy n="194" d="100"/>
        </p:scale>
        <p:origin x="540" y="156"/>
      </p:cViewPr>
      <p:guideLst>
        <p:guide orient="horz" pos="984"/>
        <p:guide orient="horz" pos="3252"/>
        <p:guide orient="horz" pos="76"/>
        <p:guide pos="158"/>
        <p:guide pos="3787"/>
        <p:guide pos="4740"/>
        <p:guide pos="555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8" d="100"/>
          <a:sy n="98" d="100"/>
        </p:scale>
        <p:origin x="-3564" y="-96"/>
      </p:cViewPr>
      <p:guideLst>
        <p:guide orient="horz" pos="2880"/>
        <p:guide pos="2160"/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FC0025-D9A6-4733-84A8-1C8173CC511E}" type="datetimeFigureOut">
              <a:rPr lang="en-GB" smtClean="0"/>
              <a:t>31/10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5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5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56E4D8-A29D-49D7-8203-CE6165357BC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92377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68FD12-72FF-404D-9644-766ED5A34FEC}" type="datetimeFigureOut">
              <a:rPr lang="en-GB" smtClean="0"/>
              <a:t>31/10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739775"/>
            <a:ext cx="59245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5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5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B6037E-FD10-4B5A-B8DF-BE8A41E026D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5493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5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hemeOverride" Target="../theme/themeOverride16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themeOverride" Target="../theme/themeOverride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themeOverride" Target="../theme/themeOverride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5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elfolie">
    <p:bg>
      <p:bgPr>
        <a:solidFill>
          <a:srgbClr val="A11C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coBackground" hidden="1"/>
          <p:cNvSpPr/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95537" y="1872616"/>
            <a:ext cx="5616325" cy="984885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en-GB" b="0" cap="none" baseline="0" noProof="0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95287" y="3073176"/>
            <a:ext cx="5616575" cy="138499"/>
          </a:xfrm>
        </p:spPr>
        <p:txBody>
          <a:bodyPr wrap="square" lIns="0">
            <a:spAutoFit/>
          </a:bodyPr>
          <a:lstStyle>
            <a:lvl1pPr marL="0" indent="0" algn="l">
              <a:spcAft>
                <a:spcPts val="0"/>
              </a:spcAft>
              <a:buNone/>
              <a:defRPr sz="9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 smtClean="0"/>
              <a:t>Formatvorlage des Untertitelmasters durch Klicken bearbeiten</a:t>
            </a:r>
            <a:endParaRPr lang="de-CH" noProof="0" dirty="0"/>
          </a:p>
        </p:txBody>
      </p:sp>
      <p:sp>
        <p:nvSpPr>
          <p:cNvPr id="11" name="Status" hidden="1"/>
          <p:cNvSpPr txBox="1"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ogoFrame"/>
          <p:cNvSpPr>
            <a:spLocks/>
          </p:cNvSpPr>
          <p:nvPr userDrawn="1">
            <p:custDataLst>
              <p:tags r:id="rId6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13397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width Content" preserve="1" userDrawn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250823" y="1562099"/>
            <a:ext cx="8569327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519829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7200900" cy="52879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3203575" y="1023938"/>
            <a:ext cx="5616575" cy="3994150"/>
          </a:xfrm>
        </p:spPr>
        <p:txBody>
          <a:bodyPr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Tabelle durch Klicken auf Symbol hinzufügen</a:t>
            </a:r>
            <a:endParaRPr lang="de-CH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 bwMode="ltGray">
          <a:xfrm>
            <a:off x="317499" y="1023392"/>
            <a:ext cx="2736999" cy="637849"/>
          </a:xfrm>
          <a:solidFill>
            <a:schemeClr val="accent1"/>
          </a:solidFill>
        </p:spPr>
        <p:txBody>
          <a:bodyPr lIns="108000" tIns="72000" rIns="108000" bIns="72000" anchor="t" anchorCtr="0">
            <a:sp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CH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8982443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4109624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type="titleOnly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295334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079172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bg>
      <p:bgPr>
        <a:solidFill>
          <a:srgbClr val="D820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coBackground" hidden="1"/>
          <p:cNvSpPr/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0825" y="4575174"/>
            <a:ext cx="8569325" cy="769441"/>
          </a:xfrm>
        </p:spPr>
        <p:txBody>
          <a:bodyPr lIns="36000" tIns="0" anchor="b" anchorCtr="0">
            <a:noAutofit/>
          </a:bodyPr>
          <a:lstStyle>
            <a:lvl1pPr>
              <a:defRPr sz="5000" i="1">
                <a:solidFill>
                  <a:srgbClr val="FFFFFF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10" name="Status" hidden="1"/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LogoFrame"/>
          <p:cNvSpPr>
            <a:spLocks/>
          </p:cNvSpPr>
          <p:nvPr userDrawn="1">
            <p:custDataLst>
              <p:tags r:id="rId5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6546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with Image" preserve="1" userDrawn="1">
  <p:cSld name="Closing with Image">
    <p:bg>
      <p:bgPr>
        <a:solidFill>
          <a:srgbClr val="D820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coBackground" hidden="1"/>
          <p:cNvSpPr/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LogoFrame"/>
          <p:cNvSpPr>
            <a:spLocks/>
          </p:cNvSpPr>
          <p:nvPr userDrawn="1">
            <p:custDataLst>
              <p:tags r:id="rId3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  <p:custDataLst>
              <p:tags r:id="rId4"/>
            </p:custDataLst>
          </p:nvPr>
        </p:nvSpPr>
        <p:spPr>
          <a:xfrm>
            <a:off x="0" y="0"/>
            <a:ext cx="9144000" cy="5715000"/>
          </a:xfrm>
        </p:spPr>
        <p:txBody>
          <a:bodyPr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Bild durch Klicken auf Symbol hinzufügen</a:t>
            </a:r>
            <a:endParaRPr lang="de-CH" dirty="0"/>
          </a:p>
        </p:txBody>
      </p:sp>
      <p:sp>
        <p:nvSpPr>
          <p:cNvPr id="3" name="Title 3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50825" y="4575174"/>
            <a:ext cx="8569326" cy="769441"/>
          </a:xfrm>
        </p:spPr>
        <p:txBody>
          <a:bodyPr lIns="36000" tIns="0" anchor="b" anchorCtr="0">
            <a:noAutofit/>
          </a:bodyPr>
          <a:lstStyle>
            <a:lvl1pPr>
              <a:defRPr sz="5000" i="1">
                <a:solidFill>
                  <a:srgbClr val="FFFFFF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11" name="Status" hidden="1"/>
          <p:cNvSpPr txBox="1">
            <a:spLocks/>
          </p:cNvSpPr>
          <p:nvPr userDrawn="1">
            <p:custDataLst>
              <p:tags r:id="rId6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6614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7201494" cy="1080542"/>
          </a:xfrm>
        </p:spPr>
        <p:txBody>
          <a:bodyPr/>
          <a:lstStyle/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4" y="1562100"/>
            <a:ext cx="5761038" cy="3600450"/>
          </a:xfrm>
        </p:spPr>
        <p:txBody>
          <a:bodyPr/>
          <a:lstStyle/>
          <a:p>
            <a:pPr lvl="0"/>
            <a:r>
              <a:rPr lang="de-CH" noProof="0" dirty="0" smtClean="0"/>
              <a:t>Textmasterformat bearbeiten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524750" y="1561356"/>
            <a:ext cx="1295400" cy="3601194"/>
          </a:xfrm>
        </p:spPr>
        <p:txBody>
          <a:bodyPr/>
          <a:lstStyle>
            <a:lvl1pPr marL="0" indent="0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solidFill>
                  <a:schemeClr val="tx2"/>
                </a:solidFill>
              </a:defRPr>
            </a:lvl1pPr>
            <a:lvl2pPr marL="216000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2pPr>
            <a:lvl3pPr marL="360000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3pPr>
            <a:lvl4pPr marL="539750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4pPr>
            <a:lvl5pPr marL="712787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5pPr>
          </a:lstStyle>
          <a:p>
            <a:pPr lvl="0"/>
            <a:r>
              <a:rPr lang="de-CH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29914333"/>
      </p:ext>
    </p:extLst>
  </p:cSld>
  <p:clrMapOvr>
    <a:masterClrMapping/>
  </p:clrMapOvr>
  <p:hf sldNum="0"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with Image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/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0" y="0"/>
            <a:ext cx="9144000" cy="5715000"/>
          </a:xfrm>
        </p:spPr>
        <p:txBody>
          <a:bodyPr lIns="0" tIns="0" bIns="468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noProof="0" dirty="0" smtClean="0"/>
              <a:t>Bild durch Klicken auf Symbol hinzufügen</a:t>
            </a:r>
            <a:endParaRPr lang="de-CH" noProof="0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ltGray">
          <a:xfrm>
            <a:off x="0" y="4529242"/>
            <a:ext cx="3923928" cy="513284"/>
          </a:xfrm>
          <a:solidFill>
            <a:schemeClr val="accent1"/>
          </a:solidFill>
        </p:spPr>
        <p:txBody>
          <a:bodyPr lIns="396000" tIns="72000" rIns="144000" bIns="162000">
            <a:spAutoFit/>
          </a:bodyPr>
          <a:lstStyle>
            <a:lvl1pPr marL="0" indent="0" algn="l">
              <a:spcAft>
                <a:spcPts val="0"/>
              </a:spcAft>
              <a:buNone/>
              <a:defRPr sz="9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 smtClean="0"/>
              <a:t>Formatvorlage des Untertitelmasters durch Klicken bearbeiten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 bwMode="ltGray">
          <a:xfrm>
            <a:off x="0" y="3604645"/>
            <a:ext cx="3923928" cy="972404"/>
          </a:xfrm>
          <a:solidFill>
            <a:schemeClr val="accent1"/>
          </a:solidFill>
        </p:spPr>
        <p:txBody>
          <a:bodyPr lIns="396000" tIns="147600" rIns="144000" bIns="118800" anchor="b" anchorCtr="0">
            <a:spAutoFit/>
          </a:bodyPr>
          <a:lstStyle>
            <a:lvl1pPr algn="l">
              <a:lnSpc>
                <a:spcPts val="2700"/>
              </a:lnSpc>
              <a:defRPr sz="2300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9" name="Status" hidden="1"/>
          <p:cNvSpPr txBox="1"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LogoFrame"/>
          <p:cNvSpPr>
            <a:spLocks/>
          </p:cNvSpPr>
          <p:nvPr userDrawn="1">
            <p:custDataLst>
              <p:tags r:id="rId4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84499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Abschnitts-&#10;überschri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coBackground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0825" y="1836263"/>
            <a:ext cx="5761038" cy="1021237"/>
          </a:xfrm>
        </p:spPr>
        <p:txBody>
          <a:bodyPr lIns="36000" anchor="b" anchorCtr="0">
            <a:noAutofit/>
          </a:bodyPr>
          <a:lstStyle>
            <a:lvl1pPr algn="l"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4" name="Hider"/>
          <p:cNvSpPr/>
          <p:nvPr userDrawn="1"/>
        </p:nvSpPr>
        <p:spPr bwMode="white">
          <a:xfrm>
            <a:off x="0" y="4945732"/>
            <a:ext cx="9144000" cy="76926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9" name="Status" hidden="1"/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37144" y="5106797"/>
            <a:ext cx="683387" cy="579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66241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with Image" preserve="1" userDrawn="1">
  <p:cSld name="Section Hea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0" y="0"/>
            <a:ext cx="9144000" cy="4945732"/>
          </a:xfrm>
        </p:spPr>
        <p:txBody>
          <a:bodyPr lIns="0" tIns="0" bIns="468000" anchor="ctr" anchorCtr="0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de-CH" noProof="0" dirty="0" smtClean="0"/>
              <a:t>Bild durch Klicken auf Symbol hinzufügen</a:t>
            </a:r>
            <a:endParaRPr lang="de-CH" noProof="0" dirty="0"/>
          </a:p>
        </p:txBody>
      </p:sp>
      <p:sp>
        <p:nvSpPr>
          <p:cNvPr id="13" name="EcoBackground" hidden="1"/>
          <p:cNvSpPr/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 dirty="0"/>
          </a:p>
        </p:txBody>
      </p:sp>
      <p:sp>
        <p:nvSpPr>
          <p:cNvPr id="6" name="Hider"/>
          <p:cNvSpPr/>
          <p:nvPr userDrawn="1"/>
        </p:nvSpPr>
        <p:spPr bwMode="white">
          <a:xfrm>
            <a:off x="0" y="4945732"/>
            <a:ext cx="9144000" cy="76926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 dirty="0"/>
          </a:p>
        </p:txBody>
      </p:sp>
      <p:sp>
        <p:nvSpPr>
          <p:cNvPr id="10" name="Status" hidden="1"/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0" y="1870016"/>
            <a:ext cx="3924000" cy="998699"/>
          </a:xfrm>
          <a:solidFill>
            <a:schemeClr val="accent1"/>
          </a:solidFill>
        </p:spPr>
        <p:txBody>
          <a:bodyPr lIns="396000" tIns="144000" bIns="144000" anchor="ctr" anchorCtr="0">
            <a:spAutoFit/>
          </a:bodyPr>
          <a:lstStyle>
            <a:lvl1pPr algn="l">
              <a:defRPr sz="23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pic>
        <p:nvPicPr>
          <p:cNvPr id="3" name="Grafik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37144" y="5106797"/>
            <a:ext cx="683387" cy="579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8856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Content 2/3 - 1/3" preserve="1" userDrawn="1">
  <p:cSld name="Image and Content 2/3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250825" y="1562100"/>
            <a:ext cx="5761038" cy="3600450"/>
          </a:xfrm>
        </p:spPr>
        <p:txBody>
          <a:bodyPr lIns="0"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Bild durch Klicken auf Symbol hinzufügen</a:t>
            </a:r>
            <a:endParaRPr lang="de-CH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84167" y="1562100"/>
            <a:ext cx="2735983" cy="3600450"/>
          </a:xfr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542968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Content 1/3 - 2/3" preserve="1" userDrawn="1">
  <p:cSld name="Image and Content 1/3 -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50823" y="1562100"/>
            <a:ext cx="2808000" cy="3600449"/>
          </a:xfrm>
        </p:spPr>
        <p:txBody>
          <a:bodyPr lIns="0"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Bild durch Klicken auf Symbol hinzufügen</a:t>
            </a:r>
            <a:endParaRPr lang="de-CH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132137" y="1562100"/>
            <a:ext cx="5688013" cy="3600448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9256209"/>
      </p:ext>
    </p:extLst>
  </p:cSld>
  <p:clrMapOvr>
    <a:masterClrMapping/>
  </p:clrMapOvr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1/3 - 2/3" preserve="1" userDrawn="1">
  <p:cSld name="Two Content 1/3 -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706812" y="1562100"/>
            <a:ext cx="5113338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250825" y="1562100"/>
            <a:ext cx="2881313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92368844"/>
      </p:ext>
    </p:extLst>
  </p:cSld>
  <p:clrMapOvr>
    <a:masterClrMapping/>
  </p:clrMapOvr>
  <p:hf sldNum="0"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2/3 - 1/3" preserve="1" userDrawn="1">
  <p:cSld name="Two Content 2/3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0824" y="1562100"/>
            <a:ext cx="5185668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011863" y="1562100"/>
            <a:ext cx="2808287" cy="3600450"/>
          </a:xfr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03784623"/>
      </p:ext>
    </p:extLst>
  </p:cSld>
  <p:clrMapOvr>
    <a:masterClrMapping/>
  </p:clrMapOvr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05013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" name="think-cell Folie" r:id="rId25" imgW="353" imgH="353" progId="TCLayout.ActiveDocument.1">
                  <p:embed/>
                </p:oleObj>
              </mc:Choice>
              <mc:Fallback>
                <p:oleObj name="think-cell Foli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7200900" cy="1080542"/>
          </a:xfrm>
          <a:prstGeom prst="rect">
            <a:avLst/>
          </a:prstGeom>
        </p:spPr>
        <p:txBody>
          <a:bodyPr vert="horz" lIns="36000" tIns="36000" rIns="0" bIns="0" rtlCol="0" anchor="t" anchorCtr="0">
            <a:noAutofit/>
          </a:bodyPr>
          <a:lstStyle/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562100"/>
            <a:ext cx="5761038" cy="3600450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/>
          <a:p>
            <a:pPr lvl="0"/>
            <a:r>
              <a:rPr lang="de-CH" noProof="0" dirty="0" smtClean="0"/>
              <a:t>Textmasterformat bearbeiten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sp>
        <p:nvSpPr>
          <p:cNvPr id="12" name="Footnote" hidden="1"/>
          <p:cNvSpPr txBox="1"/>
          <p:nvPr>
            <p:custDataLst>
              <p:tags r:id="rId20"/>
            </p:custDataLst>
          </p:nvPr>
        </p:nvSpPr>
        <p:spPr>
          <a:xfrm>
            <a:off x="250824" y="5162550"/>
            <a:ext cx="5761039" cy="287238"/>
          </a:xfrm>
          <a:prstGeom prst="rect">
            <a:avLst/>
          </a:prstGeom>
          <a:noFill/>
        </p:spPr>
        <p:txBody>
          <a:bodyPr wrap="square" lIns="36000" tIns="0" rIns="0" bIns="0" rtlCol="0">
            <a:noAutofit/>
          </a:bodyPr>
          <a:lstStyle/>
          <a:p>
            <a:endParaRPr lang="de-CH" sz="6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gendaTitleFrame" hidden="1"/>
          <p:cNvSpPr>
            <a:spLocks/>
          </p:cNvSpPr>
          <p:nvPr userDrawn="1">
            <p:custDataLst>
              <p:tags r:id="rId21"/>
            </p:custDataLst>
          </p:nvPr>
        </p:nvSpPr>
        <p:spPr bwMode="gray">
          <a:xfrm>
            <a:off x="7524328" y="-5680"/>
            <a:ext cx="1296144" cy="622742"/>
          </a:xfrm>
          <a:custGeom>
            <a:avLst/>
            <a:gdLst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800200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800200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08652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0220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846" h="1800200">
                <a:moveTo>
                  <a:pt x="0" y="0"/>
                </a:moveTo>
                <a:lnTo>
                  <a:pt x="3746846" y="0"/>
                </a:lnTo>
                <a:cubicBezTo>
                  <a:pt x="3746846" y="600067"/>
                  <a:pt x="3740220" y="1233263"/>
                  <a:pt x="3746846" y="1515278"/>
                </a:cubicBezTo>
                <a:cubicBezTo>
                  <a:pt x="2544280" y="1530739"/>
                  <a:pt x="1255575" y="1665470"/>
                  <a:pt x="0" y="1800200"/>
                </a:cubicBezTo>
                <a:lnTo>
                  <a:pt x="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8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tatus" hidden="1"/>
          <p:cNvSpPr txBox="1">
            <a:spLocks/>
          </p:cNvSpPr>
          <p:nvPr userDrawn="1">
            <p:custDataLst>
              <p:tags r:id="rId22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oter"/>
          <p:cNvSpPr txBox="1">
            <a:spLocks/>
          </p:cNvSpPr>
          <p:nvPr userDrawn="1">
            <p:custDataLst>
              <p:tags r:id="rId23"/>
            </p:custDataLst>
          </p:nvPr>
        </p:nvSpPr>
        <p:spPr>
          <a:xfrm>
            <a:off x="250825" y="5377780"/>
            <a:ext cx="5761038" cy="23226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de-CH" sz="7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Point-Präsentation | 30.05.2016</a:t>
            </a:r>
            <a:endParaRPr lang="de-CH" sz="7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>
            <p:custDataLst>
              <p:tags r:id="rId24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398129" y="5235194"/>
            <a:ext cx="464312" cy="393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894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0" r:id="rId2"/>
    <p:sldLayoutId id="2147483649" r:id="rId3"/>
    <p:sldLayoutId id="2147483667" r:id="rId4"/>
    <p:sldLayoutId id="2147483651" r:id="rId5"/>
    <p:sldLayoutId id="2147483659" r:id="rId6"/>
    <p:sldLayoutId id="2147483661" r:id="rId7"/>
    <p:sldLayoutId id="2147483662" r:id="rId8"/>
    <p:sldLayoutId id="2147483663" r:id="rId9"/>
    <p:sldLayoutId id="2147483665" r:id="rId10"/>
    <p:sldLayoutId id="2147483670" r:id="rId11"/>
    <p:sldLayoutId id="2147483654" r:id="rId12"/>
    <p:sldLayoutId id="2147483671" r:id="rId13"/>
    <p:sldLayoutId id="2147483655" r:id="rId14"/>
    <p:sldLayoutId id="2147483668" r:id="rId15"/>
    <p:sldLayoutId id="2147483669" r:id="rId16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2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D8203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96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1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2175" indent="-179388" algn="l" defTabSz="107632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58" userDrawn="1">
          <p15:clr>
            <a:srgbClr val="F26B43"/>
          </p15:clr>
        </p15:guide>
        <p15:guide id="2" pos="3787" userDrawn="1">
          <p15:clr>
            <a:srgbClr val="F26B43"/>
          </p15:clr>
        </p15:guide>
        <p15:guide id="3" pos="4740" userDrawn="1">
          <p15:clr>
            <a:srgbClr val="F26B43"/>
          </p15:clr>
        </p15:guide>
        <p15:guide id="4" pos="5556" userDrawn="1">
          <p15:clr>
            <a:srgbClr val="F26B43"/>
          </p15:clr>
        </p15:guide>
        <p15:guide id="5" orient="horz" pos="984" userDrawn="1">
          <p15:clr>
            <a:srgbClr val="F26B43"/>
          </p15:clr>
        </p15:guide>
        <p15:guide id="6" orient="horz" pos="3252" userDrawn="1">
          <p15:clr>
            <a:srgbClr val="F26B43"/>
          </p15:clr>
        </p15:guide>
        <p15:guide id="7" orient="horz" pos="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16"/>
          <p:cNvCxnSpPr/>
          <p:nvPr/>
        </p:nvCxnSpPr>
        <p:spPr>
          <a:xfrm>
            <a:off x="249912" y="120650"/>
            <a:ext cx="8570238" cy="4249018"/>
          </a:xfrm>
          <a:prstGeom prst="line">
            <a:avLst/>
          </a:prstGeom>
          <a:ln w="19050"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/>
        </p:nvCxnSpPr>
        <p:spPr>
          <a:xfrm flipV="1">
            <a:off x="250825" y="120650"/>
            <a:ext cx="8569325" cy="4249018"/>
          </a:xfrm>
          <a:prstGeom prst="line">
            <a:avLst/>
          </a:prstGeom>
          <a:ln w="19050"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>
          <a:xfrm>
            <a:off x="250825" y="4556216"/>
            <a:ext cx="1602123" cy="212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6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5. Freude </a:t>
            </a:r>
            <a:endParaRPr lang="de-CH" sz="1600" i="1" dirty="0">
              <a:solidFill>
                <a:schemeClr val="tx1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cxnSp>
        <p:nvCxnSpPr>
          <p:cNvPr id="20" name="Gerader Verbinder 19"/>
          <p:cNvCxnSpPr/>
          <p:nvPr/>
        </p:nvCxnSpPr>
        <p:spPr>
          <a:xfrm>
            <a:off x="250825" y="4441676"/>
            <a:ext cx="8569325" cy="0"/>
          </a:xfrm>
          <a:prstGeom prst="line">
            <a:avLst/>
          </a:prstGeom>
          <a:ln w="19050"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531742" y="4513684"/>
            <a:ext cx="0" cy="648866"/>
          </a:xfrm>
          <a:prstGeom prst="line">
            <a:avLst/>
          </a:prstGeom>
          <a:ln w="19050"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32"/>
          <p:cNvGrpSpPr>
            <a:grpSpLocks noChangeAspect="1"/>
          </p:cNvGrpSpPr>
          <p:nvPr/>
        </p:nvGrpSpPr>
        <p:grpSpPr bwMode="auto">
          <a:xfrm>
            <a:off x="3843338" y="1692275"/>
            <a:ext cx="1395412" cy="1165225"/>
            <a:chOff x="2421" y="1066"/>
            <a:chExt cx="879" cy="734"/>
          </a:xfrm>
        </p:grpSpPr>
        <p:sp>
          <p:nvSpPr>
            <p:cNvPr id="24" name="AutoShape 31"/>
            <p:cNvSpPr>
              <a:spLocks noChangeAspect="1" noChangeArrowheads="1" noTextEdit="1"/>
            </p:cNvSpPr>
            <p:nvPr/>
          </p:nvSpPr>
          <p:spPr bwMode="auto">
            <a:xfrm>
              <a:off x="2421" y="1066"/>
              <a:ext cx="879" cy="7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  <p:sp>
          <p:nvSpPr>
            <p:cNvPr id="25" name="Freeform 33"/>
            <p:cNvSpPr>
              <a:spLocks/>
            </p:cNvSpPr>
            <p:nvPr/>
          </p:nvSpPr>
          <p:spPr bwMode="auto">
            <a:xfrm>
              <a:off x="2500" y="1070"/>
              <a:ext cx="725" cy="726"/>
            </a:xfrm>
            <a:custGeom>
              <a:avLst/>
              <a:gdLst>
                <a:gd name="T0" fmla="*/ 4 w 1451"/>
                <a:gd name="T1" fmla="*/ 651 h 1450"/>
                <a:gd name="T2" fmla="*/ 23 w 1451"/>
                <a:gd name="T3" fmla="*/ 544 h 1450"/>
                <a:gd name="T4" fmla="*/ 58 w 1451"/>
                <a:gd name="T5" fmla="*/ 443 h 1450"/>
                <a:gd name="T6" fmla="*/ 105 w 1451"/>
                <a:gd name="T7" fmla="*/ 349 h 1450"/>
                <a:gd name="T8" fmla="*/ 166 w 1451"/>
                <a:gd name="T9" fmla="*/ 264 h 1450"/>
                <a:gd name="T10" fmla="*/ 238 w 1451"/>
                <a:gd name="T11" fmla="*/ 188 h 1450"/>
                <a:gd name="T12" fmla="*/ 320 w 1451"/>
                <a:gd name="T13" fmla="*/ 123 h 1450"/>
                <a:gd name="T14" fmla="*/ 411 w 1451"/>
                <a:gd name="T15" fmla="*/ 71 h 1450"/>
                <a:gd name="T16" fmla="*/ 510 w 1451"/>
                <a:gd name="T17" fmla="*/ 32 h 1450"/>
                <a:gd name="T18" fmla="*/ 615 w 1451"/>
                <a:gd name="T19" fmla="*/ 8 h 1450"/>
                <a:gd name="T20" fmla="*/ 726 w 1451"/>
                <a:gd name="T21" fmla="*/ 0 h 1450"/>
                <a:gd name="T22" fmla="*/ 836 w 1451"/>
                <a:gd name="T23" fmla="*/ 8 h 1450"/>
                <a:gd name="T24" fmla="*/ 942 w 1451"/>
                <a:gd name="T25" fmla="*/ 32 h 1450"/>
                <a:gd name="T26" fmla="*/ 1040 w 1451"/>
                <a:gd name="T27" fmla="*/ 71 h 1450"/>
                <a:gd name="T28" fmla="*/ 1131 w 1451"/>
                <a:gd name="T29" fmla="*/ 123 h 1450"/>
                <a:gd name="T30" fmla="*/ 1214 w 1451"/>
                <a:gd name="T31" fmla="*/ 188 h 1450"/>
                <a:gd name="T32" fmla="*/ 1285 w 1451"/>
                <a:gd name="T33" fmla="*/ 263 h 1450"/>
                <a:gd name="T34" fmla="*/ 1346 w 1451"/>
                <a:gd name="T35" fmla="*/ 349 h 1450"/>
                <a:gd name="T36" fmla="*/ 1394 w 1451"/>
                <a:gd name="T37" fmla="*/ 443 h 1450"/>
                <a:gd name="T38" fmla="*/ 1429 w 1451"/>
                <a:gd name="T39" fmla="*/ 544 h 1450"/>
                <a:gd name="T40" fmla="*/ 1448 w 1451"/>
                <a:gd name="T41" fmla="*/ 651 h 1450"/>
                <a:gd name="T42" fmla="*/ 1450 w 1451"/>
                <a:gd name="T43" fmla="*/ 762 h 1450"/>
                <a:gd name="T44" fmla="*/ 1436 w 1451"/>
                <a:gd name="T45" fmla="*/ 871 h 1450"/>
                <a:gd name="T46" fmla="*/ 1407 w 1451"/>
                <a:gd name="T47" fmla="*/ 974 h 1450"/>
                <a:gd name="T48" fmla="*/ 1363 w 1451"/>
                <a:gd name="T49" fmla="*/ 1071 h 1450"/>
                <a:gd name="T50" fmla="*/ 1307 w 1451"/>
                <a:gd name="T51" fmla="*/ 1159 h 1450"/>
                <a:gd name="T52" fmla="*/ 1239 w 1451"/>
                <a:gd name="T53" fmla="*/ 1238 h 1450"/>
                <a:gd name="T54" fmla="*/ 1160 w 1451"/>
                <a:gd name="T55" fmla="*/ 1306 h 1450"/>
                <a:gd name="T56" fmla="*/ 1072 w 1451"/>
                <a:gd name="T57" fmla="*/ 1363 h 1450"/>
                <a:gd name="T58" fmla="*/ 975 w 1451"/>
                <a:gd name="T59" fmla="*/ 1406 h 1450"/>
                <a:gd name="T60" fmla="*/ 872 w 1451"/>
                <a:gd name="T61" fmla="*/ 1435 h 1450"/>
                <a:gd name="T62" fmla="*/ 763 w 1451"/>
                <a:gd name="T63" fmla="*/ 1449 h 1450"/>
                <a:gd name="T64" fmla="*/ 652 w 1451"/>
                <a:gd name="T65" fmla="*/ 1447 h 1450"/>
                <a:gd name="T66" fmla="*/ 545 w 1451"/>
                <a:gd name="T67" fmla="*/ 1428 h 1450"/>
                <a:gd name="T68" fmla="*/ 444 w 1451"/>
                <a:gd name="T69" fmla="*/ 1393 h 1450"/>
                <a:gd name="T70" fmla="*/ 349 w 1451"/>
                <a:gd name="T71" fmla="*/ 1345 h 1450"/>
                <a:gd name="T72" fmla="*/ 265 w 1451"/>
                <a:gd name="T73" fmla="*/ 1284 h 1450"/>
                <a:gd name="T74" fmla="*/ 189 w 1451"/>
                <a:gd name="T75" fmla="*/ 1213 h 1450"/>
                <a:gd name="T76" fmla="*/ 124 w 1451"/>
                <a:gd name="T77" fmla="*/ 1130 h 1450"/>
                <a:gd name="T78" fmla="*/ 72 w 1451"/>
                <a:gd name="T79" fmla="*/ 1039 h 1450"/>
                <a:gd name="T80" fmla="*/ 33 w 1451"/>
                <a:gd name="T81" fmla="*/ 941 h 1450"/>
                <a:gd name="T82" fmla="*/ 9 w 1451"/>
                <a:gd name="T83" fmla="*/ 836 h 1450"/>
                <a:gd name="T84" fmla="*/ 0 w 1451"/>
                <a:gd name="T85" fmla="*/ 725 h 1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51" h="1450">
                  <a:moveTo>
                    <a:pt x="0" y="725"/>
                  </a:moveTo>
                  <a:lnTo>
                    <a:pt x="1" y="688"/>
                  </a:lnTo>
                  <a:lnTo>
                    <a:pt x="4" y="651"/>
                  </a:lnTo>
                  <a:lnTo>
                    <a:pt x="9" y="614"/>
                  </a:lnTo>
                  <a:lnTo>
                    <a:pt x="15" y="579"/>
                  </a:lnTo>
                  <a:lnTo>
                    <a:pt x="23" y="544"/>
                  </a:lnTo>
                  <a:lnTo>
                    <a:pt x="33" y="509"/>
                  </a:lnTo>
                  <a:lnTo>
                    <a:pt x="45" y="476"/>
                  </a:lnTo>
                  <a:lnTo>
                    <a:pt x="58" y="443"/>
                  </a:lnTo>
                  <a:lnTo>
                    <a:pt x="72" y="411"/>
                  </a:lnTo>
                  <a:lnTo>
                    <a:pt x="88" y="379"/>
                  </a:lnTo>
                  <a:lnTo>
                    <a:pt x="105" y="349"/>
                  </a:lnTo>
                  <a:lnTo>
                    <a:pt x="124" y="320"/>
                  </a:lnTo>
                  <a:lnTo>
                    <a:pt x="144" y="291"/>
                  </a:lnTo>
                  <a:lnTo>
                    <a:pt x="166" y="264"/>
                  </a:lnTo>
                  <a:lnTo>
                    <a:pt x="189" y="237"/>
                  </a:lnTo>
                  <a:lnTo>
                    <a:pt x="213" y="212"/>
                  </a:lnTo>
                  <a:lnTo>
                    <a:pt x="238" y="188"/>
                  </a:lnTo>
                  <a:lnTo>
                    <a:pt x="264" y="166"/>
                  </a:lnTo>
                  <a:lnTo>
                    <a:pt x="292" y="144"/>
                  </a:lnTo>
                  <a:lnTo>
                    <a:pt x="320" y="123"/>
                  </a:lnTo>
                  <a:lnTo>
                    <a:pt x="349" y="105"/>
                  </a:lnTo>
                  <a:lnTo>
                    <a:pt x="380" y="87"/>
                  </a:lnTo>
                  <a:lnTo>
                    <a:pt x="411" y="71"/>
                  </a:lnTo>
                  <a:lnTo>
                    <a:pt x="444" y="57"/>
                  </a:lnTo>
                  <a:lnTo>
                    <a:pt x="476" y="44"/>
                  </a:lnTo>
                  <a:lnTo>
                    <a:pt x="510" y="32"/>
                  </a:lnTo>
                  <a:lnTo>
                    <a:pt x="545" y="22"/>
                  </a:lnTo>
                  <a:lnTo>
                    <a:pt x="579" y="15"/>
                  </a:lnTo>
                  <a:lnTo>
                    <a:pt x="615" y="8"/>
                  </a:lnTo>
                  <a:lnTo>
                    <a:pt x="652" y="3"/>
                  </a:lnTo>
                  <a:lnTo>
                    <a:pt x="689" y="1"/>
                  </a:lnTo>
                  <a:lnTo>
                    <a:pt x="726" y="0"/>
                  </a:lnTo>
                  <a:lnTo>
                    <a:pt x="763" y="1"/>
                  </a:lnTo>
                  <a:lnTo>
                    <a:pt x="800" y="3"/>
                  </a:lnTo>
                  <a:lnTo>
                    <a:pt x="836" y="8"/>
                  </a:lnTo>
                  <a:lnTo>
                    <a:pt x="872" y="15"/>
                  </a:lnTo>
                  <a:lnTo>
                    <a:pt x="907" y="22"/>
                  </a:lnTo>
                  <a:lnTo>
                    <a:pt x="942" y="32"/>
                  </a:lnTo>
                  <a:lnTo>
                    <a:pt x="975" y="44"/>
                  </a:lnTo>
                  <a:lnTo>
                    <a:pt x="1008" y="57"/>
                  </a:lnTo>
                  <a:lnTo>
                    <a:pt x="1040" y="71"/>
                  </a:lnTo>
                  <a:lnTo>
                    <a:pt x="1072" y="87"/>
                  </a:lnTo>
                  <a:lnTo>
                    <a:pt x="1102" y="105"/>
                  </a:lnTo>
                  <a:lnTo>
                    <a:pt x="1131" y="123"/>
                  </a:lnTo>
                  <a:lnTo>
                    <a:pt x="1160" y="144"/>
                  </a:lnTo>
                  <a:lnTo>
                    <a:pt x="1188" y="166"/>
                  </a:lnTo>
                  <a:lnTo>
                    <a:pt x="1214" y="188"/>
                  </a:lnTo>
                  <a:lnTo>
                    <a:pt x="1239" y="212"/>
                  </a:lnTo>
                  <a:lnTo>
                    <a:pt x="1263" y="237"/>
                  </a:lnTo>
                  <a:lnTo>
                    <a:pt x="1285" y="263"/>
                  </a:lnTo>
                  <a:lnTo>
                    <a:pt x="1307" y="291"/>
                  </a:lnTo>
                  <a:lnTo>
                    <a:pt x="1328" y="320"/>
                  </a:lnTo>
                  <a:lnTo>
                    <a:pt x="1346" y="349"/>
                  </a:lnTo>
                  <a:lnTo>
                    <a:pt x="1363" y="379"/>
                  </a:lnTo>
                  <a:lnTo>
                    <a:pt x="1380" y="411"/>
                  </a:lnTo>
                  <a:lnTo>
                    <a:pt x="1394" y="443"/>
                  </a:lnTo>
                  <a:lnTo>
                    <a:pt x="1407" y="476"/>
                  </a:lnTo>
                  <a:lnTo>
                    <a:pt x="1419" y="509"/>
                  </a:lnTo>
                  <a:lnTo>
                    <a:pt x="1429" y="544"/>
                  </a:lnTo>
                  <a:lnTo>
                    <a:pt x="1436" y="579"/>
                  </a:lnTo>
                  <a:lnTo>
                    <a:pt x="1443" y="614"/>
                  </a:lnTo>
                  <a:lnTo>
                    <a:pt x="1448" y="651"/>
                  </a:lnTo>
                  <a:lnTo>
                    <a:pt x="1450" y="688"/>
                  </a:lnTo>
                  <a:lnTo>
                    <a:pt x="1451" y="725"/>
                  </a:lnTo>
                  <a:lnTo>
                    <a:pt x="1450" y="762"/>
                  </a:lnTo>
                  <a:lnTo>
                    <a:pt x="1448" y="799"/>
                  </a:lnTo>
                  <a:lnTo>
                    <a:pt x="1443" y="836"/>
                  </a:lnTo>
                  <a:lnTo>
                    <a:pt x="1436" y="871"/>
                  </a:lnTo>
                  <a:lnTo>
                    <a:pt x="1429" y="906"/>
                  </a:lnTo>
                  <a:lnTo>
                    <a:pt x="1419" y="941"/>
                  </a:lnTo>
                  <a:lnTo>
                    <a:pt x="1407" y="974"/>
                  </a:lnTo>
                  <a:lnTo>
                    <a:pt x="1394" y="1007"/>
                  </a:lnTo>
                  <a:lnTo>
                    <a:pt x="1380" y="1039"/>
                  </a:lnTo>
                  <a:lnTo>
                    <a:pt x="1363" y="1071"/>
                  </a:lnTo>
                  <a:lnTo>
                    <a:pt x="1346" y="1101"/>
                  </a:lnTo>
                  <a:lnTo>
                    <a:pt x="1328" y="1130"/>
                  </a:lnTo>
                  <a:lnTo>
                    <a:pt x="1307" y="1159"/>
                  </a:lnTo>
                  <a:lnTo>
                    <a:pt x="1285" y="1187"/>
                  </a:lnTo>
                  <a:lnTo>
                    <a:pt x="1263" y="1213"/>
                  </a:lnTo>
                  <a:lnTo>
                    <a:pt x="1239" y="1238"/>
                  </a:lnTo>
                  <a:lnTo>
                    <a:pt x="1214" y="1262"/>
                  </a:lnTo>
                  <a:lnTo>
                    <a:pt x="1188" y="1284"/>
                  </a:lnTo>
                  <a:lnTo>
                    <a:pt x="1160" y="1306"/>
                  </a:lnTo>
                  <a:lnTo>
                    <a:pt x="1131" y="1327"/>
                  </a:lnTo>
                  <a:lnTo>
                    <a:pt x="1102" y="1345"/>
                  </a:lnTo>
                  <a:lnTo>
                    <a:pt x="1072" y="1363"/>
                  </a:lnTo>
                  <a:lnTo>
                    <a:pt x="1040" y="1379"/>
                  </a:lnTo>
                  <a:lnTo>
                    <a:pt x="1008" y="1393"/>
                  </a:lnTo>
                  <a:lnTo>
                    <a:pt x="975" y="1406"/>
                  </a:lnTo>
                  <a:lnTo>
                    <a:pt x="942" y="1418"/>
                  </a:lnTo>
                  <a:lnTo>
                    <a:pt x="907" y="1428"/>
                  </a:lnTo>
                  <a:lnTo>
                    <a:pt x="872" y="1435"/>
                  </a:lnTo>
                  <a:lnTo>
                    <a:pt x="836" y="1442"/>
                  </a:lnTo>
                  <a:lnTo>
                    <a:pt x="800" y="1447"/>
                  </a:lnTo>
                  <a:lnTo>
                    <a:pt x="763" y="1449"/>
                  </a:lnTo>
                  <a:lnTo>
                    <a:pt x="726" y="1450"/>
                  </a:lnTo>
                  <a:lnTo>
                    <a:pt x="689" y="1449"/>
                  </a:lnTo>
                  <a:lnTo>
                    <a:pt x="652" y="1447"/>
                  </a:lnTo>
                  <a:lnTo>
                    <a:pt x="615" y="1442"/>
                  </a:lnTo>
                  <a:lnTo>
                    <a:pt x="579" y="1435"/>
                  </a:lnTo>
                  <a:lnTo>
                    <a:pt x="545" y="1428"/>
                  </a:lnTo>
                  <a:lnTo>
                    <a:pt x="510" y="1418"/>
                  </a:lnTo>
                  <a:lnTo>
                    <a:pt x="476" y="1406"/>
                  </a:lnTo>
                  <a:lnTo>
                    <a:pt x="444" y="1393"/>
                  </a:lnTo>
                  <a:lnTo>
                    <a:pt x="411" y="1379"/>
                  </a:lnTo>
                  <a:lnTo>
                    <a:pt x="380" y="1363"/>
                  </a:lnTo>
                  <a:lnTo>
                    <a:pt x="349" y="1345"/>
                  </a:lnTo>
                  <a:lnTo>
                    <a:pt x="320" y="1327"/>
                  </a:lnTo>
                  <a:lnTo>
                    <a:pt x="292" y="1306"/>
                  </a:lnTo>
                  <a:lnTo>
                    <a:pt x="265" y="1284"/>
                  </a:lnTo>
                  <a:lnTo>
                    <a:pt x="238" y="1262"/>
                  </a:lnTo>
                  <a:lnTo>
                    <a:pt x="213" y="1238"/>
                  </a:lnTo>
                  <a:lnTo>
                    <a:pt x="189" y="1213"/>
                  </a:lnTo>
                  <a:lnTo>
                    <a:pt x="166" y="1187"/>
                  </a:lnTo>
                  <a:lnTo>
                    <a:pt x="144" y="1159"/>
                  </a:lnTo>
                  <a:lnTo>
                    <a:pt x="124" y="1130"/>
                  </a:lnTo>
                  <a:lnTo>
                    <a:pt x="105" y="1101"/>
                  </a:lnTo>
                  <a:lnTo>
                    <a:pt x="88" y="1071"/>
                  </a:lnTo>
                  <a:lnTo>
                    <a:pt x="72" y="1039"/>
                  </a:lnTo>
                  <a:lnTo>
                    <a:pt x="58" y="1007"/>
                  </a:lnTo>
                  <a:lnTo>
                    <a:pt x="45" y="974"/>
                  </a:lnTo>
                  <a:lnTo>
                    <a:pt x="33" y="941"/>
                  </a:lnTo>
                  <a:lnTo>
                    <a:pt x="23" y="906"/>
                  </a:lnTo>
                  <a:lnTo>
                    <a:pt x="15" y="871"/>
                  </a:lnTo>
                  <a:lnTo>
                    <a:pt x="9" y="836"/>
                  </a:lnTo>
                  <a:lnTo>
                    <a:pt x="4" y="799"/>
                  </a:lnTo>
                  <a:lnTo>
                    <a:pt x="1" y="762"/>
                  </a:lnTo>
                  <a:lnTo>
                    <a:pt x="0" y="725"/>
                  </a:lnTo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  <p:sp>
          <p:nvSpPr>
            <p:cNvPr id="26" name="Freeform 34"/>
            <p:cNvSpPr>
              <a:spLocks/>
            </p:cNvSpPr>
            <p:nvPr/>
          </p:nvSpPr>
          <p:spPr bwMode="auto">
            <a:xfrm>
              <a:off x="3030" y="1282"/>
              <a:ext cx="62" cy="62"/>
            </a:xfrm>
            <a:custGeom>
              <a:avLst/>
              <a:gdLst>
                <a:gd name="T0" fmla="*/ 123 w 123"/>
                <a:gd name="T1" fmla="*/ 61 h 122"/>
                <a:gd name="T2" fmla="*/ 121 w 123"/>
                <a:gd name="T3" fmla="*/ 48 h 122"/>
                <a:gd name="T4" fmla="*/ 118 w 123"/>
                <a:gd name="T5" fmla="*/ 38 h 122"/>
                <a:gd name="T6" fmla="*/ 112 w 123"/>
                <a:gd name="T7" fmla="*/ 27 h 122"/>
                <a:gd name="T8" fmla="*/ 105 w 123"/>
                <a:gd name="T9" fmla="*/ 18 h 122"/>
                <a:gd name="T10" fmla="*/ 95 w 123"/>
                <a:gd name="T11" fmla="*/ 10 h 122"/>
                <a:gd name="T12" fmla="*/ 86 w 123"/>
                <a:gd name="T13" fmla="*/ 4 h 122"/>
                <a:gd name="T14" fmla="*/ 74 w 123"/>
                <a:gd name="T15" fmla="*/ 1 h 122"/>
                <a:gd name="T16" fmla="*/ 62 w 123"/>
                <a:gd name="T17" fmla="*/ 0 h 122"/>
                <a:gd name="T18" fmla="*/ 49 w 123"/>
                <a:gd name="T19" fmla="*/ 1 h 122"/>
                <a:gd name="T20" fmla="*/ 38 w 123"/>
                <a:gd name="T21" fmla="*/ 4 h 122"/>
                <a:gd name="T22" fmla="*/ 27 w 123"/>
                <a:gd name="T23" fmla="*/ 10 h 122"/>
                <a:gd name="T24" fmla="*/ 18 w 123"/>
                <a:gd name="T25" fmla="*/ 18 h 122"/>
                <a:gd name="T26" fmla="*/ 11 w 123"/>
                <a:gd name="T27" fmla="*/ 27 h 122"/>
                <a:gd name="T28" fmla="*/ 4 w 123"/>
                <a:gd name="T29" fmla="*/ 38 h 122"/>
                <a:gd name="T30" fmla="*/ 1 w 123"/>
                <a:gd name="T31" fmla="*/ 48 h 122"/>
                <a:gd name="T32" fmla="*/ 0 w 123"/>
                <a:gd name="T33" fmla="*/ 61 h 122"/>
                <a:gd name="T34" fmla="*/ 1 w 123"/>
                <a:gd name="T35" fmla="*/ 73 h 122"/>
                <a:gd name="T36" fmla="*/ 4 w 123"/>
                <a:gd name="T37" fmla="*/ 85 h 122"/>
                <a:gd name="T38" fmla="*/ 11 w 123"/>
                <a:gd name="T39" fmla="*/ 95 h 122"/>
                <a:gd name="T40" fmla="*/ 18 w 123"/>
                <a:gd name="T41" fmla="*/ 105 h 122"/>
                <a:gd name="T42" fmla="*/ 27 w 123"/>
                <a:gd name="T43" fmla="*/ 111 h 122"/>
                <a:gd name="T44" fmla="*/ 38 w 123"/>
                <a:gd name="T45" fmla="*/ 118 h 122"/>
                <a:gd name="T46" fmla="*/ 49 w 123"/>
                <a:gd name="T47" fmla="*/ 121 h 122"/>
                <a:gd name="T48" fmla="*/ 62 w 123"/>
                <a:gd name="T49" fmla="*/ 122 h 122"/>
                <a:gd name="T50" fmla="*/ 74 w 123"/>
                <a:gd name="T51" fmla="*/ 121 h 122"/>
                <a:gd name="T52" fmla="*/ 86 w 123"/>
                <a:gd name="T53" fmla="*/ 118 h 122"/>
                <a:gd name="T54" fmla="*/ 95 w 123"/>
                <a:gd name="T55" fmla="*/ 111 h 122"/>
                <a:gd name="T56" fmla="*/ 105 w 123"/>
                <a:gd name="T57" fmla="*/ 105 h 122"/>
                <a:gd name="T58" fmla="*/ 112 w 123"/>
                <a:gd name="T59" fmla="*/ 95 h 122"/>
                <a:gd name="T60" fmla="*/ 118 w 123"/>
                <a:gd name="T61" fmla="*/ 85 h 122"/>
                <a:gd name="T62" fmla="*/ 121 w 123"/>
                <a:gd name="T63" fmla="*/ 73 h 122"/>
                <a:gd name="T64" fmla="*/ 123 w 123"/>
                <a:gd name="T65" fmla="*/ 6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3" h="122">
                  <a:moveTo>
                    <a:pt x="123" y="61"/>
                  </a:moveTo>
                  <a:lnTo>
                    <a:pt x="121" y="48"/>
                  </a:lnTo>
                  <a:lnTo>
                    <a:pt x="118" y="38"/>
                  </a:lnTo>
                  <a:lnTo>
                    <a:pt x="112" y="27"/>
                  </a:lnTo>
                  <a:lnTo>
                    <a:pt x="105" y="18"/>
                  </a:lnTo>
                  <a:lnTo>
                    <a:pt x="95" y="10"/>
                  </a:lnTo>
                  <a:lnTo>
                    <a:pt x="86" y="4"/>
                  </a:lnTo>
                  <a:lnTo>
                    <a:pt x="74" y="1"/>
                  </a:lnTo>
                  <a:lnTo>
                    <a:pt x="62" y="0"/>
                  </a:lnTo>
                  <a:lnTo>
                    <a:pt x="49" y="1"/>
                  </a:lnTo>
                  <a:lnTo>
                    <a:pt x="38" y="4"/>
                  </a:lnTo>
                  <a:lnTo>
                    <a:pt x="27" y="10"/>
                  </a:lnTo>
                  <a:lnTo>
                    <a:pt x="18" y="18"/>
                  </a:lnTo>
                  <a:lnTo>
                    <a:pt x="11" y="27"/>
                  </a:lnTo>
                  <a:lnTo>
                    <a:pt x="4" y="38"/>
                  </a:lnTo>
                  <a:lnTo>
                    <a:pt x="1" y="48"/>
                  </a:lnTo>
                  <a:lnTo>
                    <a:pt x="0" y="61"/>
                  </a:lnTo>
                  <a:lnTo>
                    <a:pt x="1" y="73"/>
                  </a:lnTo>
                  <a:lnTo>
                    <a:pt x="4" y="85"/>
                  </a:lnTo>
                  <a:lnTo>
                    <a:pt x="11" y="95"/>
                  </a:lnTo>
                  <a:lnTo>
                    <a:pt x="18" y="105"/>
                  </a:lnTo>
                  <a:lnTo>
                    <a:pt x="27" y="111"/>
                  </a:lnTo>
                  <a:lnTo>
                    <a:pt x="38" y="118"/>
                  </a:lnTo>
                  <a:lnTo>
                    <a:pt x="49" y="121"/>
                  </a:lnTo>
                  <a:lnTo>
                    <a:pt x="62" y="122"/>
                  </a:lnTo>
                  <a:lnTo>
                    <a:pt x="74" y="121"/>
                  </a:lnTo>
                  <a:lnTo>
                    <a:pt x="86" y="118"/>
                  </a:lnTo>
                  <a:lnTo>
                    <a:pt x="95" y="111"/>
                  </a:lnTo>
                  <a:lnTo>
                    <a:pt x="105" y="105"/>
                  </a:lnTo>
                  <a:lnTo>
                    <a:pt x="112" y="95"/>
                  </a:lnTo>
                  <a:lnTo>
                    <a:pt x="118" y="85"/>
                  </a:lnTo>
                  <a:lnTo>
                    <a:pt x="121" y="73"/>
                  </a:lnTo>
                  <a:lnTo>
                    <a:pt x="123" y="6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  <p:sp>
          <p:nvSpPr>
            <p:cNvPr id="27" name="Freeform 35"/>
            <p:cNvSpPr>
              <a:spLocks/>
            </p:cNvSpPr>
            <p:nvPr/>
          </p:nvSpPr>
          <p:spPr bwMode="auto">
            <a:xfrm>
              <a:off x="3030" y="1282"/>
              <a:ext cx="62" cy="62"/>
            </a:xfrm>
            <a:custGeom>
              <a:avLst/>
              <a:gdLst>
                <a:gd name="T0" fmla="*/ 123 w 123"/>
                <a:gd name="T1" fmla="*/ 61 h 122"/>
                <a:gd name="T2" fmla="*/ 121 w 123"/>
                <a:gd name="T3" fmla="*/ 48 h 122"/>
                <a:gd name="T4" fmla="*/ 118 w 123"/>
                <a:gd name="T5" fmla="*/ 38 h 122"/>
                <a:gd name="T6" fmla="*/ 112 w 123"/>
                <a:gd name="T7" fmla="*/ 27 h 122"/>
                <a:gd name="T8" fmla="*/ 105 w 123"/>
                <a:gd name="T9" fmla="*/ 18 h 122"/>
                <a:gd name="T10" fmla="*/ 95 w 123"/>
                <a:gd name="T11" fmla="*/ 10 h 122"/>
                <a:gd name="T12" fmla="*/ 86 w 123"/>
                <a:gd name="T13" fmla="*/ 4 h 122"/>
                <a:gd name="T14" fmla="*/ 74 w 123"/>
                <a:gd name="T15" fmla="*/ 1 h 122"/>
                <a:gd name="T16" fmla="*/ 62 w 123"/>
                <a:gd name="T17" fmla="*/ 0 h 122"/>
                <a:gd name="T18" fmla="*/ 49 w 123"/>
                <a:gd name="T19" fmla="*/ 1 h 122"/>
                <a:gd name="T20" fmla="*/ 38 w 123"/>
                <a:gd name="T21" fmla="*/ 4 h 122"/>
                <a:gd name="T22" fmla="*/ 27 w 123"/>
                <a:gd name="T23" fmla="*/ 10 h 122"/>
                <a:gd name="T24" fmla="*/ 18 w 123"/>
                <a:gd name="T25" fmla="*/ 18 h 122"/>
                <a:gd name="T26" fmla="*/ 11 w 123"/>
                <a:gd name="T27" fmla="*/ 27 h 122"/>
                <a:gd name="T28" fmla="*/ 4 w 123"/>
                <a:gd name="T29" fmla="*/ 38 h 122"/>
                <a:gd name="T30" fmla="*/ 1 w 123"/>
                <a:gd name="T31" fmla="*/ 48 h 122"/>
                <a:gd name="T32" fmla="*/ 0 w 123"/>
                <a:gd name="T33" fmla="*/ 61 h 122"/>
                <a:gd name="T34" fmla="*/ 1 w 123"/>
                <a:gd name="T35" fmla="*/ 73 h 122"/>
                <a:gd name="T36" fmla="*/ 4 w 123"/>
                <a:gd name="T37" fmla="*/ 85 h 122"/>
                <a:gd name="T38" fmla="*/ 11 w 123"/>
                <a:gd name="T39" fmla="*/ 95 h 122"/>
                <a:gd name="T40" fmla="*/ 18 w 123"/>
                <a:gd name="T41" fmla="*/ 105 h 122"/>
                <a:gd name="T42" fmla="*/ 27 w 123"/>
                <a:gd name="T43" fmla="*/ 111 h 122"/>
                <a:gd name="T44" fmla="*/ 38 w 123"/>
                <a:gd name="T45" fmla="*/ 118 h 122"/>
                <a:gd name="T46" fmla="*/ 49 w 123"/>
                <a:gd name="T47" fmla="*/ 121 h 122"/>
                <a:gd name="T48" fmla="*/ 62 w 123"/>
                <a:gd name="T49" fmla="*/ 122 h 122"/>
                <a:gd name="T50" fmla="*/ 74 w 123"/>
                <a:gd name="T51" fmla="*/ 121 h 122"/>
                <a:gd name="T52" fmla="*/ 86 w 123"/>
                <a:gd name="T53" fmla="*/ 118 h 122"/>
                <a:gd name="T54" fmla="*/ 95 w 123"/>
                <a:gd name="T55" fmla="*/ 111 h 122"/>
                <a:gd name="T56" fmla="*/ 105 w 123"/>
                <a:gd name="T57" fmla="*/ 105 h 122"/>
                <a:gd name="T58" fmla="*/ 112 w 123"/>
                <a:gd name="T59" fmla="*/ 95 h 122"/>
                <a:gd name="T60" fmla="*/ 118 w 123"/>
                <a:gd name="T61" fmla="*/ 85 h 122"/>
                <a:gd name="T62" fmla="*/ 121 w 123"/>
                <a:gd name="T63" fmla="*/ 73 h 122"/>
                <a:gd name="T64" fmla="*/ 123 w 123"/>
                <a:gd name="T65" fmla="*/ 6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3" h="122">
                  <a:moveTo>
                    <a:pt x="123" y="61"/>
                  </a:moveTo>
                  <a:lnTo>
                    <a:pt x="121" y="48"/>
                  </a:lnTo>
                  <a:lnTo>
                    <a:pt x="118" y="38"/>
                  </a:lnTo>
                  <a:lnTo>
                    <a:pt x="112" y="27"/>
                  </a:lnTo>
                  <a:lnTo>
                    <a:pt x="105" y="18"/>
                  </a:lnTo>
                  <a:lnTo>
                    <a:pt x="95" y="10"/>
                  </a:lnTo>
                  <a:lnTo>
                    <a:pt x="86" y="4"/>
                  </a:lnTo>
                  <a:lnTo>
                    <a:pt x="74" y="1"/>
                  </a:lnTo>
                  <a:lnTo>
                    <a:pt x="62" y="0"/>
                  </a:lnTo>
                  <a:lnTo>
                    <a:pt x="49" y="1"/>
                  </a:lnTo>
                  <a:lnTo>
                    <a:pt x="38" y="4"/>
                  </a:lnTo>
                  <a:lnTo>
                    <a:pt x="27" y="10"/>
                  </a:lnTo>
                  <a:lnTo>
                    <a:pt x="18" y="18"/>
                  </a:lnTo>
                  <a:lnTo>
                    <a:pt x="11" y="27"/>
                  </a:lnTo>
                  <a:lnTo>
                    <a:pt x="4" y="38"/>
                  </a:lnTo>
                  <a:lnTo>
                    <a:pt x="1" y="48"/>
                  </a:lnTo>
                  <a:lnTo>
                    <a:pt x="0" y="61"/>
                  </a:lnTo>
                  <a:lnTo>
                    <a:pt x="1" y="73"/>
                  </a:lnTo>
                  <a:lnTo>
                    <a:pt x="4" y="85"/>
                  </a:lnTo>
                  <a:lnTo>
                    <a:pt x="11" y="95"/>
                  </a:lnTo>
                  <a:lnTo>
                    <a:pt x="18" y="105"/>
                  </a:lnTo>
                  <a:lnTo>
                    <a:pt x="27" y="111"/>
                  </a:lnTo>
                  <a:lnTo>
                    <a:pt x="38" y="118"/>
                  </a:lnTo>
                  <a:lnTo>
                    <a:pt x="49" y="121"/>
                  </a:lnTo>
                  <a:lnTo>
                    <a:pt x="62" y="122"/>
                  </a:lnTo>
                  <a:lnTo>
                    <a:pt x="74" y="121"/>
                  </a:lnTo>
                  <a:lnTo>
                    <a:pt x="86" y="118"/>
                  </a:lnTo>
                  <a:lnTo>
                    <a:pt x="95" y="111"/>
                  </a:lnTo>
                  <a:lnTo>
                    <a:pt x="105" y="105"/>
                  </a:lnTo>
                  <a:lnTo>
                    <a:pt x="112" y="95"/>
                  </a:lnTo>
                  <a:lnTo>
                    <a:pt x="118" y="85"/>
                  </a:lnTo>
                  <a:lnTo>
                    <a:pt x="121" y="73"/>
                  </a:lnTo>
                  <a:lnTo>
                    <a:pt x="123" y="61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  <p:sp>
          <p:nvSpPr>
            <p:cNvPr id="28" name="Freeform 36"/>
            <p:cNvSpPr>
              <a:spLocks/>
            </p:cNvSpPr>
            <p:nvPr/>
          </p:nvSpPr>
          <p:spPr bwMode="auto">
            <a:xfrm rot="276269">
              <a:off x="3220" y="1392"/>
              <a:ext cx="76" cy="89"/>
            </a:xfrm>
            <a:custGeom>
              <a:avLst/>
              <a:gdLst>
                <a:gd name="T0" fmla="*/ 0 w 150"/>
                <a:gd name="T1" fmla="*/ 0 h 178"/>
                <a:gd name="T2" fmla="*/ 25 w 150"/>
                <a:gd name="T3" fmla="*/ 24 h 178"/>
                <a:gd name="T4" fmla="*/ 49 w 150"/>
                <a:gd name="T5" fmla="*/ 46 h 178"/>
                <a:gd name="T6" fmla="*/ 74 w 150"/>
                <a:gd name="T7" fmla="*/ 65 h 178"/>
                <a:gd name="T8" fmla="*/ 98 w 150"/>
                <a:gd name="T9" fmla="*/ 82 h 178"/>
                <a:gd name="T10" fmla="*/ 119 w 150"/>
                <a:gd name="T11" fmla="*/ 98 h 178"/>
                <a:gd name="T12" fmla="*/ 128 w 150"/>
                <a:gd name="T13" fmla="*/ 105 h 178"/>
                <a:gd name="T14" fmla="*/ 135 w 150"/>
                <a:gd name="T15" fmla="*/ 112 h 178"/>
                <a:gd name="T16" fmla="*/ 141 w 150"/>
                <a:gd name="T17" fmla="*/ 118 h 178"/>
                <a:gd name="T18" fmla="*/ 146 w 150"/>
                <a:gd name="T19" fmla="*/ 125 h 178"/>
                <a:gd name="T20" fmla="*/ 149 w 150"/>
                <a:gd name="T21" fmla="*/ 131 h 178"/>
                <a:gd name="T22" fmla="*/ 150 w 150"/>
                <a:gd name="T23" fmla="*/ 137 h 178"/>
                <a:gd name="T24" fmla="*/ 149 w 150"/>
                <a:gd name="T25" fmla="*/ 142 h 178"/>
                <a:gd name="T26" fmla="*/ 147 w 150"/>
                <a:gd name="T27" fmla="*/ 146 h 178"/>
                <a:gd name="T28" fmla="*/ 143 w 150"/>
                <a:gd name="T29" fmla="*/ 151 h 178"/>
                <a:gd name="T30" fmla="*/ 137 w 150"/>
                <a:gd name="T31" fmla="*/ 155 h 178"/>
                <a:gd name="T32" fmla="*/ 130 w 150"/>
                <a:gd name="T33" fmla="*/ 158 h 178"/>
                <a:gd name="T34" fmla="*/ 121 w 150"/>
                <a:gd name="T35" fmla="*/ 160 h 178"/>
                <a:gd name="T36" fmla="*/ 102 w 150"/>
                <a:gd name="T37" fmla="*/ 166 h 178"/>
                <a:gd name="T38" fmla="*/ 80 w 150"/>
                <a:gd name="T39" fmla="*/ 169 h 178"/>
                <a:gd name="T40" fmla="*/ 55 w 150"/>
                <a:gd name="T41" fmla="*/ 172 h 178"/>
                <a:gd name="T42" fmla="*/ 31 w 150"/>
                <a:gd name="T43" fmla="*/ 176 h 178"/>
                <a:gd name="T44" fmla="*/ 8 w 150"/>
                <a:gd name="T45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0" h="178">
                  <a:moveTo>
                    <a:pt x="0" y="0"/>
                  </a:moveTo>
                  <a:lnTo>
                    <a:pt x="25" y="24"/>
                  </a:lnTo>
                  <a:lnTo>
                    <a:pt x="49" y="46"/>
                  </a:lnTo>
                  <a:lnTo>
                    <a:pt x="74" y="65"/>
                  </a:lnTo>
                  <a:lnTo>
                    <a:pt x="98" y="82"/>
                  </a:lnTo>
                  <a:lnTo>
                    <a:pt x="119" y="98"/>
                  </a:lnTo>
                  <a:lnTo>
                    <a:pt x="128" y="105"/>
                  </a:lnTo>
                  <a:lnTo>
                    <a:pt x="135" y="112"/>
                  </a:lnTo>
                  <a:lnTo>
                    <a:pt x="141" y="118"/>
                  </a:lnTo>
                  <a:lnTo>
                    <a:pt x="146" y="125"/>
                  </a:lnTo>
                  <a:lnTo>
                    <a:pt x="149" y="131"/>
                  </a:lnTo>
                  <a:lnTo>
                    <a:pt x="150" y="137"/>
                  </a:lnTo>
                  <a:lnTo>
                    <a:pt x="149" y="142"/>
                  </a:lnTo>
                  <a:lnTo>
                    <a:pt x="147" y="146"/>
                  </a:lnTo>
                  <a:lnTo>
                    <a:pt x="143" y="151"/>
                  </a:lnTo>
                  <a:lnTo>
                    <a:pt x="137" y="155"/>
                  </a:lnTo>
                  <a:lnTo>
                    <a:pt x="130" y="158"/>
                  </a:lnTo>
                  <a:lnTo>
                    <a:pt x="121" y="160"/>
                  </a:lnTo>
                  <a:lnTo>
                    <a:pt x="102" y="166"/>
                  </a:lnTo>
                  <a:lnTo>
                    <a:pt x="80" y="169"/>
                  </a:lnTo>
                  <a:lnTo>
                    <a:pt x="55" y="172"/>
                  </a:lnTo>
                  <a:lnTo>
                    <a:pt x="31" y="176"/>
                  </a:lnTo>
                  <a:lnTo>
                    <a:pt x="8" y="178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  <p:sp>
          <p:nvSpPr>
            <p:cNvPr id="29" name="Freeform 37"/>
            <p:cNvSpPr>
              <a:spLocks/>
            </p:cNvSpPr>
            <p:nvPr/>
          </p:nvSpPr>
          <p:spPr bwMode="auto">
            <a:xfrm>
              <a:off x="2913" y="1606"/>
              <a:ext cx="230" cy="64"/>
            </a:xfrm>
            <a:custGeom>
              <a:avLst/>
              <a:gdLst>
                <a:gd name="T0" fmla="*/ 459 w 459"/>
                <a:gd name="T1" fmla="*/ 114 h 128"/>
                <a:gd name="T2" fmla="*/ 429 w 459"/>
                <a:gd name="T3" fmla="*/ 120 h 128"/>
                <a:gd name="T4" fmla="*/ 399 w 459"/>
                <a:gd name="T5" fmla="*/ 125 h 128"/>
                <a:gd name="T6" fmla="*/ 367 w 459"/>
                <a:gd name="T7" fmla="*/ 127 h 128"/>
                <a:gd name="T8" fmla="*/ 337 w 459"/>
                <a:gd name="T9" fmla="*/ 128 h 128"/>
                <a:gd name="T10" fmla="*/ 307 w 459"/>
                <a:gd name="T11" fmla="*/ 127 h 128"/>
                <a:gd name="T12" fmla="*/ 276 w 459"/>
                <a:gd name="T13" fmla="*/ 124 h 128"/>
                <a:gd name="T14" fmla="*/ 246 w 459"/>
                <a:gd name="T15" fmla="*/ 119 h 128"/>
                <a:gd name="T16" fmla="*/ 215 w 459"/>
                <a:gd name="T17" fmla="*/ 113 h 128"/>
                <a:gd name="T18" fmla="*/ 186 w 459"/>
                <a:gd name="T19" fmla="*/ 104 h 128"/>
                <a:gd name="T20" fmla="*/ 158 w 459"/>
                <a:gd name="T21" fmla="*/ 94 h 128"/>
                <a:gd name="T22" fmla="*/ 129 w 459"/>
                <a:gd name="T23" fmla="*/ 83 h 128"/>
                <a:gd name="T24" fmla="*/ 102 w 459"/>
                <a:gd name="T25" fmla="*/ 69 h 128"/>
                <a:gd name="T26" fmla="*/ 74 w 459"/>
                <a:gd name="T27" fmla="*/ 54 h 128"/>
                <a:gd name="T28" fmla="*/ 48 w 459"/>
                <a:gd name="T29" fmla="*/ 38 h 128"/>
                <a:gd name="T30" fmla="*/ 24 w 459"/>
                <a:gd name="T31" fmla="*/ 19 h 128"/>
                <a:gd name="T32" fmla="*/ 0 w 459"/>
                <a:gd name="T3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9" h="128">
                  <a:moveTo>
                    <a:pt x="459" y="114"/>
                  </a:moveTo>
                  <a:lnTo>
                    <a:pt x="429" y="120"/>
                  </a:lnTo>
                  <a:lnTo>
                    <a:pt x="399" y="125"/>
                  </a:lnTo>
                  <a:lnTo>
                    <a:pt x="367" y="127"/>
                  </a:lnTo>
                  <a:lnTo>
                    <a:pt x="337" y="128"/>
                  </a:lnTo>
                  <a:lnTo>
                    <a:pt x="307" y="127"/>
                  </a:lnTo>
                  <a:lnTo>
                    <a:pt x="276" y="124"/>
                  </a:lnTo>
                  <a:lnTo>
                    <a:pt x="246" y="119"/>
                  </a:lnTo>
                  <a:lnTo>
                    <a:pt x="215" y="113"/>
                  </a:lnTo>
                  <a:lnTo>
                    <a:pt x="186" y="104"/>
                  </a:lnTo>
                  <a:lnTo>
                    <a:pt x="158" y="94"/>
                  </a:lnTo>
                  <a:lnTo>
                    <a:pt x="129" y="83"/>
                  </a:lnTo>
                  <a:lnTo>
                    <a:pt x="102" y="69"/>
                  </a:lnTo>
                  <a:lnTo>
                    <a:pt x="74" y="54"/>
                  </a:lnTo>
                  <a:lnTo>
                    <a:pt x="48" y="38"/>
                  </a:lnTo>
                  <a:lnTo>
                    <a:pt x="24" y="19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  <p:sp>
          <p:nvSpPr>
            <p:cNvPr id="30" name="Freeform 38"/>
            <p:cNvSpPr>
              <a:spLocks/>
            </p:cNvSpPr>
            <p:nvPr/>
          </p:nvSpPr>
          <p:spPr bwMode="auto">
            <a:xfrm rot="21384522">
              <a:off x="2455" y="1332"/>
              <a:ext cx="65" cy="168"/>
            </a:xfrm>
            <a:custGeom>
              <a:avLst/>
              <a:gdLst>
                <a:gd name="T0" fmla="*/ 97 w 130"/>
                <a:gd name="T1" fmla="*/ 335 h 335"/>
                <a:gd name="T2" fmla="*/ 76 w 130"/>
                <a:gd name="T3" fmla="*/ 321 h 335"/>
                <a:gd name="T4" fmla="*/ 59 w 130"/>
                <a:gd name="T5" fmla="*/ 306 h 335"/>
                <a:gd name="T6" fmla="*/ 44 w 130"/>
                <a:gd name="T7" fmla="*/ 290 h 335"/>
                <a:gd name="T8" fmla="*/ 31 w 130"/>
                <a:gd name="T9" fmla="*/ 273 h 335"/>
                <a:gd name="T10" fmla="*/ 20 w 130"/>
                <a:gd name="T11" fmla="*/ 254 h 335"/>
                <a:gd name="T12" fmla="*/ 11 w 130"/>
                <a:gd name="T13" fmla="*/ 236 h 335"/>
                <a:gd name="T14" fmla="*/ 6 w 130"/>
                <a:gd name="T15" fmla="*/ 216 h 335"/>
                <a:gd name="T16" fmla="*/ 1 w 130"/>
                <a:gd name="T17" fmla="*/ 197 h 335"/>
                <a:gd name="T18" fmla="*/ 0 w 130"/>
                <a:gd name="T19" fmla="*/ 177 h 335"/>
                <a:gd name="T20" fmla="*/ 1 w 130"/>
                <a:gd name="T21" fmla="*/ 158 h 335"/>
                <a:gd name="T22" fmla="*/ 5 w 130"/>
                <a:gd name="T23" fmla="*/ 138 h 335"/>
                <a:gd name="T24" fmla="*/ 11 w 130"/>
                <a:gd name="T25" fmla="*/ 119 h 335"/>
                <a:gd name="T26" fmla="*/ 20 w 130"/>
                <a:gd name="T27" fmla="*/ 100 h 335"/>
                <a:gd name="T28" fmla="*/ 31 w 130"/>
                <a:gd name="T29" fmla="*/ 82 h 335"/>
                <a:gd name="T30" fmla="*/ 44 w 130"/>
                <a:gd name="T31" fmla="*/ 64 h 335"/>
                <a:gd name="T32" fmla="*/ 60 w 130"/>
                <a:gd name="T33" fmla="*/ 47 h 335"/>
                <a:gd name="T34" fmla="*/ 75 w 130"/>
                <a:gd name="T35" fmla="*/ 34 h 335"/>
                <a:gd name="T36" fmla="*/ 93 w 130"/>
                <a:gd name="T37" fmla="*/ 21 h 335"/>
                <a:gd name="T38" fmla="*/ 111 w 130"/>
                <a:gd name="T39" fmla="*/ 10 h 335"/>
                <a:gd name="T40" fmla="*/ 130 w 130"/>
                <a:gd name="T41" fmla="*/ 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335">
                  <a:moveTo>
                    <a:pt x="97" y="335"/>
                  </a:moveTo>
                  <a:lnTo>
                    <a:pt x="76" y="321"/>
                  </a:lnTo>
                  <a:lnTo>
                    <a:pt x="59" y="306"/>
                  </a:lnTo>
                  <a:lnTo>
                    <a:pt x="44" y="290"/>
                  </a:lnTo>
                  <a:lnTo>
                    <a:pt x="31" y="273"/>
                  </a:lnTo>
                  <a:lnTo>
                    <a:pt x="20" y="254"/>
                  </a:lnTo>
                  <a:lnTo>
                    <a:pt x="11" y="236"/>
                  </a:lnTo>
                  <a:lnTo>
                    <a:pt x="6" y="216"/>
                  </a:lnTo>
                  <a:lnTo>
                    <a:pt x="1" y="197"/>
                  </a:lnTo>
                  <a:lnTo>
                    <a:pt x="0" y="177"/>
                  </a:lnTo>
                  <a:lnTo>
                    <a:pt x="1" y="158"/>
                  </a:lnTo>
                  <a:lnTo>
                    <a:pt x="5" y="138"/>
                  </a:lnTo>
                  <a:lnTo>
                    <a:pt x="11" y="119"/>
                  </a:lnTo>
                  <a:lnTo>
                    <a:pt x="20" y="100"/>
                  </a:lnTo>
                  <a:lnTo>
                    <a:pt x="31" y="82"/>
                  </a:lnTo>
                  <a:lnTo>
                    <a:pt x="44" y="64"/>
                  </a:lnTo>
                  <a:lnTo>
                    <a:pt x="60" y="47"/>
                  </a:lnTo>
                  <a:lnTo>
                    <a:pt x="75" y="34"/>
                  </a:lnTo>
                  <a:lnTo>
                    <a:pt x="93" y="21"/>
                  </a:lnTo>
                  <a:lnTo>
                    <a:pt x="111" y="10"/>
                  </a:lnTo>
                  <a:lnTo>
                    <a:pt x="130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  <p:sp>
          <p:nvSpPr>
            <p:cNvPr id="31" name="Freeform 39"/>
            <p:cNvSpPr>
              <a:spLocks/>
            </p:cNvSpPr>
            <p:nvPr/>
          </p:nvSpPr>
          <p:spPr bwMode="auto">
            <a:xfrm rot="21384522">
              <a:off x="2426" y="1304"/>
              <a:ext cx="105" cy="224"/>
            </a:xfrm>
            <a:custGeom>
              <a:avLst/>
              <a:gdLst>
                <a:gd name="T0" fmla="*/ 160 w 209"/>
                <a:gd name="T1" fmla="*/ 449 h 449"/>
                <a:gd name="T2" fmla="*/ 136 w 209"/>
                <a:gd name="T3" fmla="*/ 438 h 449"/>
                <a:gd name="T4" fmla="*/ 114 w 209"/>
                <a:gd name="T5" fmla="*/ 426 h 449"/>
                <a:gd name="T6" fmla="*/ 93 w 209"/>
                <a:gd name="T7" fmla="*/ 412 h 449"/>
                <a:gd name="T8" fmla="*/ 75 w 209"/>
                <a:gd name="T9" fmla="*/ 396 h 449"/>
                <a:gd name="T10" fmla="*/ 57 w 209"/>
                <a:gd name="T11" fmla="*/ 378 h 449"/>
                <a:gd name="T12" fmla="*/ 43 w 209"/>
                <a:gd name="T13" fmla="*/ 360 h 449"/>
                <a:gd name="T14" fmla="*/ 30 w 209"/>
                <a:gd name="T15" fmla="*/ 340 h 449"/>
                <a:gd name="T16" fmla="*/ 19 w 209"/>
                <a:gd name="T17" fmla="*/ 320 h 449"/>
                <a:gd name="T18" fmla="*/ 11 w 209"/>
                <a:gd name="T19" fmla="*/ 298 h 449"/>
                <a:gd name="T20" fmla="*/ 5 w 209"/>
                <a:gd name="T21" fmla="*/ 276 h 449"/>
                <a:gd name="T22" fmla="*/ 1 w 209"/>
                <a:gd name="T23" fmla="*/ 254 h 449"/>
                <a:gd name="T24" fmla="*/ 0 w 209"/>
                <a:gd name="T25" fmla="*/ 231 h 449"/>
                <a:gd name="T26" fmla="*/ 1 w 209"/>
                <a:gd name="T27" fmla="*/ 208 h 449"/>
                <a:gd name="T28" fmla="*/ 5 w 209"/>
                <a:gd name="T29" fmla="*/ 185 h 449"/>
                <a:gd name="T30" fmla="*/ 12 w 209"/>
                <a:gd name="T31" fmla="*/ 162 h 449"/>
                <a:gd name="T32" fmla="*/ 20 w 209"/>
                <a:gd name="T33" fmla="*/ 139 h 449"/>
                <a:gd name="T34" fmla="*/ 34 w 209"/>
                <a:gd name="T35" fmla="*/ 114 h 449"/>
                <a:gd name="T36" fmla="*/ 52 w 209"/>
                <a:gd name="T37" fmla="*/ 90 h 449"/>
                <a:gd name="T38" fmla="*/ 72 w 209"/>
                <a:gd name="T39" fmla="*/ 68 h 449"/>
                <a:gd name="T40" fmla="*/ 95 w 209"/>
                <a:gd name="T41" fmla="*/ 49 h 449"/>
                <a:gd name="T42" fmla="*/ 121 w 209"/>
                <a:gd name="T43" fmla="*/ 31 h 449"/>
                <a:gd name="T44" fmla="*/ 148 w 209"/>
                <a:gd name="T45" fmla="*/ 18 h 449"/>
                <a:gd name="T46" fmla="*/ 178 w 209"/>
                <a:gd name="T47" fmla="*/ 8 h 449"/>
                <a:gd name="T48" fmla="*/ 209 w 209"/>
                <a:gd name="T49" fmla="*/ 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9" h="449">
                  <a:moveTo>
                    <a:pt x="160" y="449"/>
                  </a:moveTo>
                  <a:lnTo>
                    <a:pt x="136" y="438"/>
                  </a:lnTo>
                  <a:lnTo>
                    <a:pt x="114" y="426"/>
                  </a:lnTo>
                  <a:lnTo>
                    <a:pt x="93" y="412"/>
                  </a:lnTo>
                  <a:lnTo>
                    <a:pt x="75" y="396"/>
                  </a:lnTo>
                  <a:lnTo>
                    <a:pt x="57" y="378"/>
                  </a:lnTo>
                  <a:lnTo>
                    <a:pt x="43" y="360"/>
                  </a:lnTo>
                  <a:lnTo>
                    <a:pt x="30" y="340"/>
                  </a:lnTo>
                  <a:lnTo>
                    <a:pt x="19" y="320"/>
                  </a:lnTo>
                  <a:lnTo>
                    <a:pt x="11" y="298"/>
                  </a:lnTo>
                  <a:lnTo>
                    <a:pt x="5" y="276"/>
                  </a:lnTo>
                  <a:lnTo>
                    <a:pt x="1" y="254"/>
                  </a:lnTo>
                  <a:lnTo>
                    <a:pt x="0" y="231"/>
                  </a:lnTo>
                  <a:lnTo>
                    <a:pt x="1" y="208"/>
                  </a:lnTo>
                  <a:lnTo>
                    <a:pt x="5" y="185"/>
                  </a:lnTo>
                  <a:lnTo>
                    <a:pt x="12" y="162"/>
                  </a:lnTo>
                  <a:lnTo>
                    <a:pt x="20" y="139"/>
                  </a:lnTo>
                  <a:lnTo>
                    <a:pt x="34" y="114"/>
                  </a:lnTo>
                  <a:lnTo>
                    <a:pt x="52" y="90"/>
                  </a:lnTo>
                  <a:lnTo>
                    <a:pt x="72" y="68"/>
                  </a:lnTo>
                  <a:lnTo>
                    <a:pt x="95" y="49"/>
                  </a:lnTo>
                  <a:lnTo>
                    <a:pt x="121" y="31"/>
                  </a:lnTo>
                  <a:lnTo>
                    <a:pt x="148" y="18"/>
                  </a:lnTo>
                  <a:lnTo>
                    <a:pt x="178" y="8"/>
                  </a:lnTo>
                  <a:lnTo>
                    <a:pt x="209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</p:grpSp>
      <p:sp>
        <p:nvSpPr>
          <p:cNvPr id="32" name="Rechteck 31"/>
          <p:cNvSpPr/>
          <p:nvPr/>
        </p:nvSpPr>
        <p:spPr>
          <a:xfrm>
            <a:off x="7218349" y="4556216"/>
            <a:ext cx="1602123" cy="212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CH" sz="16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6. Frust</a:t>
            </a:r>
            <a:endParaRPr lang="de-CH" sz="1600" i="1" dirty="0">
              <a:solidFill>
                <a:schemeClr val="tx1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7218349" y="2137420"/>
            <a:ext cx="1602123" cy="212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CH" sz="16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2. Sehen</a:t>
            </a:r>
            <a:endParaRPr lang="de-CH" sz="1600" i="1" dirty="0">
              <a:solidFill>
                <a:schemeClr val="tx1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3090312" y="196685"/>
            <a:ext cx="2812174" cy="212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1. Denken und Fühlen</a:t>
            </a:r>
            <a:endParaRPr lang="de-CH" sz="1600" i="1" dirty="0">
              <a:solidFill>
                <a:schemeClr val="tx1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251520" y="2137420"/>
            <a:ext cx="1602123" cy="212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6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4. Hören</a:t>
            </a:r>
            <a:endParaRPr lang="de-CH" sz="1600" i="1" dirty="0">
              <a:solidFill>
                <a:schemeClr val="tx1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3090312" y="4085117"/>
            <a:ext cx="2812174" cy="212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3. Sagen und Tun</a:t>
            </a:r>
            <a:endParaRPr lang="de-CH" sz="1600" i="1" dirty="0">
              <a:solidFill>
                <a:schemeClr val="tx1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6" name="Rechteck 45"/>
          <p:cNvSpPr/>
          <p:nvPr/>
        </p:nvSpPr>
        <p:spPr>
          <a:xfrm rot="21178814">
            <a:off x="5539699" y="4507190"/>
            <a:ext cx="2032282" cy="507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de-CH" altLang="de-DE" sz="1400" i="1" dirty="0">
                <a:solidFill>
                  <a:schemeClr val="bg1"/>
                </a:solidFill>
                <a:latin typeface="Times New Roman" panose="02020603050405020304" pitchFamily="18" charset="0"/>
              </a:rPr>
              <a:t>Komplexität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de-CH" altLang="de-DE" sz="1400" i="1" dirty="0">
                <a:solidFill>
                  <a:schemeClr val="bg1"/>
                </a:solidFill>
                <a:latin typeface="Times New Roman" panose="02020603050405020304" pitchFamily="18" charset="0"/>
              </a:rPr>
              <a:t>Gefühl </a:t>
            </a:r>
            <a:r>
              <a:rPr lang="de-CH" altLang="de-DE" sz="1400" i="1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eines Fehlkaufs</a:t>
            </a:r>
            <a:endParaRPr lang="de-CH" altLang="de-DE" sz="1400" i="1" dirty="0">
              <a:solidFill>
                <a:schemeClr val="bg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7090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GEOFPAGES" val="true"/>
  <p:tag name="VERSINFO" val="SWL1002"/>
  <p:tag name="TEMPLATEID" val="SwissLife"/>
  <p:tag name="CLASSIFICATION" val="1"/>
  <p:tag name="CLIENT" val="SWL"/>
  <p:tag name="VERSION" val="1002"/>
  <p:tag name="REFERENCEDATE" val="42520"/>
  <p:tag name="DATE" val="30.05.2016"/>
  <p:tag name="FOOTER1" val=""/>
  <p:tag name="SHOWFOOTER" val="1"/>
  <p:tag name="THINKCELLUNDODONOTDELETE" val="0"/>
  <p:tag name="LANGUAGEID" val="2055"/>
  <p:tag name="BRANDID" val="SwissLife"/>
  <p:tag name="COLORTHEMEID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Hid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Hid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HID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AgendaTitleFrame"/>
  <p:tag name="HANDLINGCONTENT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heme/theme1.xml><?xml version="1.0" encoding="utf-8"?>
<a:theme xmlns:a="http://schemas.openxmlformats.org/drawingml/2006/main" name="Swiss Life">
  <a:themeElements>
    <a:clrScheme name="SwissLife">
      <a:dk1>
        <a:srgbClr val="000000"/>
      </a:dk1>
      <a:lt1>
        <a:srgbClr val="FFFFFF"/>
      </a:lt1>
      <a:dk2>
        <a:srgbClr val="6D1874"/>
      </a:dk2>
      <a:lt2>
        <a:srgbClr val="D82034"/>
      </a:lt2>
      <a:accent1>
        <a:srgbClr val="6D1874"/>
      </a:accent1>
      <a:accent2>
        <a:srgbClr val="B68CBA"/>
      </a:accent2>
      <a:accent3>
        <a:srgbClr val="808080"/>
      </a:accent3>
      <a:accent4>
        <a:srgbClr val="C0C0C0"/>
      </a:accent4>
      <a:accent5>
        <a:srgbClr val="A11C36"/>
      </a:accent5>
      <a:accent6>
        <a:srgbClr val="D08E9B"/>
      </a:accent6>
      <a:hlink>
        <a:srgbClr val="D82034"/>
      </a:hlink>
      <a:folHlink>
        <a:srgbClr val="808080"/>
      </a:folHlink>
    </a:clrScheme>
    <a:fontScheme name="SwissLif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SwissLife">
        <a:dk1>
          <a:sysClr val="windowText" lastClr="000000"/>
        </a:dk1>
        <a:lt1>
          <a:sysClr val="window" lastClr="FFFFFF"/>
        </a:lt1>
        <a:dk2>
          <a:srgbClr val="A11C36"/>
        </a:dk2>
        <a:lt2>
          <a:srgbClr val="D82034"/>
        </a:lt2>
        <a:accent1>
          <a:srgbClr val="A11C36"/>
        </a:accent1>
        <a:accent2>
          <a:srgbClr val="D08E9B"/>
        </a:accent2>
        <a:accent3>
          <a:srgbClr val="808080"/>
        </a:accent3>
        <a:accent4>
          <a:srgbClr val="C0C0C0"/>
        </a:accent4>
        <a:accent5>
          <a:srgbClr val="6D1874"/>
        </a:accent5>
        <a:accent6>
          <a:srgbClr val="B68CBA"/>
        </a:accent6>
        <a:hlink>
          <a:srgbClr val="D82034"/>
        </a:hlink>
        <a:folHlink>
          <a:srgbClr val="A0A0A0"/>
        </a:folHlink>
      </a:clrScheme>
    </a:extraClrScheme>
  </a:extraClrSchemeLst>
  <a:extLst>
    <a:ext uri="{05A4C25C-085E-4340-85A3-A5531E510DB2}">
      <thm15:themeFamily xmlns:thm15="http://schemas.microsoft.com/office/thememl/2012/main" name="SwissLife_20150505(1).potx" id="{B7309E45-1E9C-422E-BE51-87B0A2A3C1EE}" vid="{D2350A25-F0EA-456E-9FB0-1C04EB73F3E9}"/>
    </a:ext>
  </a:extLst>
</a:theme>
</file>

<file path=ppt/theme/theme2.xml><?xml version="1.0" encoding="utf-8"?>
<a:theme xmlns:a="http://schemas.openxmlformats.org/drawingml/2006/main" name="Office Theme">
  <a:themeElements>
    <a:clrScheme name="SwissLife - Bordeaux">
      <a:dk1>
        <a:sysClr val="windowText" lastClr="000000"/>
      </a:dk1>
      <a:lt1>
        <a:sysClr val="window" lastClr="FFFFFF"/>
      </a:lt1>
      <a:dk2>
        <a:srgbClr val="A11C36"/>
      </a:dk2>
      <a:lt2>
        <a:srgbClr val="D82034"/>
      </a:lt2>
      <a:accent1>
        <a:srgbClr val="A11C36"/>
      </a:accent1>
      <a:accent2>
        <a:srgbClr val="D08E9B"/>
      </a:accent2>
      <a:accent3>
        <a:srgbClr val="808080"/>
      </a:accent3>
      <a:accent4>
        <a:srgbClr val="C0C0C0"/>
      </a:accent4>
      <a:accent5>
        <a:srgbClr val="6D1874"/>
      </a:accent5>
      <a:accent6>
        <a:srgbClr val="B68CBA"/>
      </a:accent6>
      <a:hlink>
        <a:srgbClr val="0000FF"/>
      </a:hlink>
      <a:folHlink>
        <a:srgbClr val="6D1874"/>
      </a:folHlink>
    </a:clrScheme>
    <a:fontScheme name="SwissLif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wissLife - Bordeaux">
      <a:dk1>
        <a:sysClr val="windowText" lastClr="000000"/>
      </a:dk1>
      <a:lt1>
        <a:sysClr val="window" lastClr="FFFFFF"/>
      </a:lt1>
      <a:dk2>
        <a:srgbClr val="A11C36"/>
      </a:dk2>
      <a:lt2>
        <a:srgbClr val="D82034"/>
      </a:lt2>
      <a:accent1>
        <a:srgbClr val="A11C36"/>
      </a:accent1>
      <a:accent2>
        <a:srgbClr val="D08E9B"/>
      </a:accent2>
      <a:accent3>
        <a:srgbClr val="808080"/>
      </a:accent3>
      <a:accent4>
        <a:srgbClr val="C0C0C0"/>
      </a:accent4>
      <a:accent5>
        <a:srgbClr val="6D1874"/>
      </a:accent5>
      <a:accent6>
        <a:srgbClr val="B68CBA"/>
      </a:accent6>
      <a:hlink>
        <a:srgbClr val="0000FF"/>
      </a:hlink>
      <a:folHlink>
        <a:srgbClr val="6D1874"/>
      </a:folHlink>
    </a:clrScheme>
    <a:fontScheme name="SwissLif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0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1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2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3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4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5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6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2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3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4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5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6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7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8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9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wissLife</Template>
  <TotalTime>0</TotalTime>
  <Words>26</Words>
  <Application>Microsoft Office PowerPoint</Application>
  <PresentationFormat>Bildschirmpräsentation (16:10)</PresentationFormat>
  <Paragraphs>8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Times New Roman</vt:lpstr>
      <vt:lpstr>Swiss Life</vt:lpstr>
      <vt:lpstr>think-cell Folie</vt:lpstr>
      <vt:lpstr>PowerPoint-Präsentation</vt:lpstr>
    </vt:vector>
  </TitlesOfParts>
  <Company>Swiss Lif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afner Marius (CH/MCZ)</dc:creator>
  <cp:lastModifiedBy>Zwahlen Andreas (CH/MBG)</cp:lastModifiedBy>
  <cp:revision>94</cp:revision>
  <dcterms:created xsi:type="dcterms:W3CDTF">2016-05-30T15:26:52Z</dcterms:created>
  <dcterms:modified xsi:type="dcterms:W3CDTF">2016-10-31T06:00:31Z</dcterms:modified>
</cp:coreProperties>
</file>